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56" r:id="rId5"/>
    <p:sldId id="4848" r:id="rId6"/>
    <p:sldId id="2147375597" r:id="rId7"/>
    <p:sldId id="2147375636" r:id="rId8"/>
    <p:sldId id="2147375616" r:id="rId9"/>
    <p:sldId id="2147375617" r:id="rId10"/>
    <p:sldId id="2147375628" r:id="rId11"/>
    <p:sldId id="2147375630" r:id="rId12"/>
    <p:sldId id="2147375632" r:id="rId13"/>
    <p:sldId id="2147375631" r:id="rId14"/>
    <p:sldId id="2147375633" r:id="rId15"/>
    <p:sldId id="2147375634" r:id="rId16"/>
    <p:sldId id="2147375635" r:id="rId17"/>
    <p:sldId id="1633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0612" autoAdjust="0"/>
  </p:normalViewPr>
  <p:slideViewPr>
    <p:cSldViewPr snapToGrid="0">
      <p:cViewPr>
        <p:scale>
          <a:sx n="70" d="100"/>
          <a:sy n="70" d="100"/>
        </p:scale>
        <p:origin x="536" y="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3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=""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=""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=""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=""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=""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=""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=""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=""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=""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=""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=""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=""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=""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=""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=""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</a:t>
            </a:r>
            <a:r>
              <a:rPr lang="en-IN" sz="1600" b="1">
                <a:solidFill>
                  <a:schemeClr val="bg1"/>
                </a:solidFill>
              </a:rPr>
              <a:t>: </a:t>
            </a:r>
            <a:r>
              <a:rPr lang="en-IN" sz="1600" b="1" smtClean="0">
                <a:solidFill>
                  <a:schemeClr val="bg1"/>
                </a:solidFill>
              </a:rPr>
              <a:t>30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Fin.Tech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0" y="-109728"/>
            <a:ext cx="12124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 smtClean="0"/>
          </a:p>
          <a:p>
            <a:endParaRPr lang="en-IN" dirty="0"/>
          </a:p>
          <a:p>
            <a:r>
              <a:rPr lang="en-IN" b="1" u="sng" dirty="0" smtClean="0"/>
              <a:t>Hub Repository:</a:t>
            </a:r>
            <a:endParaRPr lang="en-IN" b="1" u="sng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01899"/>
            <a:ext cx="12192000" cy="282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599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11723828" cy="6208776"/>
          </a:xfrm>
        </p:spPr>
        <p:txBody>
          <a:bodyPr>
            <a:normAutofit/>
          </a:bodyPr>
          <a:lstStyle/>
          <a:p>
            <a:r>
              <a:rPr lang="en-IN" dirty="0" smtClean="0"/>
              <a:t/>
            </a:r>
            <a:br>
              <a:rPr lang="en-IN" dirty="0" smtClean="0"/>
            </a:br>
            <a:r>
              <a:rPr lang="en-IN" dirty="0"/>
              <a:t/>
            </a:r>
            <a:br>
              <a:rPr lang="en-IN" dirty="0"/>
            </a:br>
            <a:r>
              <a:rPr lang="en-IN" dirty="0" smtClean="0"/>
              <a:t/>
            </a:r>
            <a:br>
              <a:rPr lang="en-IN" dirty="0" smtClean="0"/>
            </a:br>
            <a:r>
              <a:rPr lang="en-IN" dirty="0"/>
              <a:t/>
            </a:r>
            <a:br>
              <a:rPr lang="en-IN" dirty="0"/>
            </a:b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0" y="-82296"/>
            <a:ext cx="12106656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React_app  (Vite):</a:t>
            </a:r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" y="408362"/>
            <a:ext cx="11991385" cy="5882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53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298202" y="0"/>
            <a:ext cx="12018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i="1" u="sng" dirty="0" smtClean="0"/>
              <a:t>Docker_image:</a:t>
            </a:r>
            <a:endParaRPr lang="en-IN" b="1" i="1" u="sng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178" y="672531"/>
            <a:ext cx="11909038" cy="523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09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0" y="-82296"/>
            <a:ext cx="12124944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Docker container:</a:t>
            </a:r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r>
              <a:rPr lang="en-IN" b="1" u="sng" dirty="0" smtClean="0"/>
              <a:t>Output:</a:t>
            </a:r>
          </a:p>
          <a:p>
            <a:endParaRPr lang="en-IN" b="1" u="sng" dirty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" y="365761"/>
            <a:ext cx="11978640" cy="10698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2386" y="2396660"/>
            <a:ext cx="7602011" cy="3430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58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Docker Presentation….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=""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=""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-45720"/>
            <a:ext cx="12192000" cy="10556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b="1" dirty="0" smtClean="0"/>
              <a:t>What is Docker ?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r>
              <a:rPr lang="en-IN" dirty="0" smtClean="0"/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Image</a:t>
            </a:r>
          </a:p>
          <a:p>
            <a:r>
              <a:rPr lang="en-IN" b="1" dirty="0">
                <a:sym typeface="Wingdings" panose="05000000000000000000" pitchFamily="2" charset="2"/>
              </a:rPr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Container </a:t>
            </a:r>
          </a:p>
          <a:p>
            <a:r>
              <a:rPr lang="en-IN" sz="3200" b="1" dirty="0">
                <a:sym typeface="Wingdings" panose="05000000000000000000" pitchFamily="2" charset="2"/>
              </a:rPr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Registry</a:t>
            </a:r>
          </a:p>
          <a:p>
            <a:r>
              <a:rPr lang="en-IN" sz="3200" b="1" dirty="0">
                <a:sym typeface="Wingdings" panose="05000000000000000000" pitchFamily="2" charset="2"/>
              </a:rPr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Compose </a:t>
            </a:r>
          </a:p>
          <a:p>
            <a:r>
              <a:rPr lang="en-IN" sz="3200" b="1" dirty="0">
                <a:sym typeface="Wingdings" panose="05000000000000000000" pitchFamily="2" charset="2"/>
              </a:rPr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Hub</a:t>
            </a:r>
          </a:p>
          <a:p>
            <a:r>
              <a:rPr lang="en-IN" sz="3200" b="1" dirty="0">
                <a:sym typeface="Wingdings" panose="05000000000000000000" pitchFamily="2" charset="2"/>
              </a:rPr>
              <a:t>	</a:t>
            </a:r>
            <a:r>
              <a:rPr lang="en-IN" sz="3200" b="1" dirty="0" smtClean="0">
                <a:sym typeface="Wingdings" panose="05000000000000000000" pitchFamily="2" charset="2"/>
              </a:rPr>
              <a:t></a:t>
            </a:r>
            <a:r>
              <a:rPr lang="en-IN" sz="3200" b="1" dirty="0" smtClean="0">
                <a:sym typeface="Wingdings" panose="05000000000000000000" pitchFamily="2" charset="2"/>
              </a:rPr>
              <a:t>Docker Networks</a:t>
            </a:r>
          </a:p>
          <a:p>
            <a:endParaRPr lang="en-IN" sz="3200" dirty="0" smtClean="0">
              <a:sym typeface="Wingdings" panose="05000000000000000000" pitchFamily="2" charset="2"/>
            </a:endParaRPr>
          </a:p>
          <a:p>
            <a:r>
              <a:rPr lang="en-IN" sz="4800" b="1" dirty="0" smtClean="0">
                <a:sym typeface="Wingdings" panose="05000000000000000000" pitchFamily="2" charset="2"/>
              </a:rPr>
              <a:t>Why Docker? </a:t>
            </a:r>
          </a:p>
          <a:p>
            <a:r>
              <a:rPr lang="en-IN" dirty="0">
                <a:sym typeface="Wingdings" panose="05000000000000000000" pitchFamily="2" charset="2"/>
              </a:rPr>
              <a:t>	</a:t>
            </a:r>
            <a:r>
              <a:rPr lang="en-IN" dirty="0" smtClean="0">
                <a:sym typeface="Wingdings" panose="05000000000000000000" pitchFamily="2" charset="2"/>
              </a:rPr>
              <a:t>	</a:t>
            </a:r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b="1" dirty="0" smtClean="0"/>
          </a:p>
          <a:p>
            <a:pPr marL="342900" indent="-342900">
              <a:buAutoNum type="arabicPeriod"/>
            </a:pPr>
            <a:endParaRPr lang="en-IN" b="1" dirty="0">
              <a:sym typeface="Wingdings" panose="05000000000000000000" pitchFamily="2" charset="2"/>
            </a:endParaRPr>
          </a:p>
          <a:p>
            <a:r>
              <a:rPr lang="en-GB" b="1" dirty="0" err="1" smtClean="0">
                <a:sym typeface="Wingdings" panose="05000000000000000000" pitchFamily="2" charset="2"/>
              </a:rPr>
              <a:t>Hb</a:t>
            </a:r>
            <a:r>
              <a:rPr lang="en-GB" b="1" dirty="0" smtClean="0">
                <a:sym typeface="Wingdings" panose="05000000000000000000" pitchFamily="2" charset="2"/>
              </a:rPr>
              <a:t>     </a:t>
            </a:r>
            <a:endParaRPr lang="en-GB" b="1" dirty="0">
              <a:sym typeface="Wingdings" panose="05000000000000000000" pitchFamily="2" charset="2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38200" y="2371407"/>
          <a:ext cx="10515600" cy="365760"/>
        </p:xfrm>
        <a:graphic>
          <a:graphicData uri="http://schemas.openxmlformats.org/drawingml/2006/table">
            <a:tbl>
              <a:tblPr/>
              <a:tblGrid>
                <a:gridCol w="10515600"/>
              </a:tblGrid>
              <a:tr h="0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777841"/>
              </p:ext>
            </p:extLst>
          </p:nvPr>
        </p:nvGraphicFramePr>
        <p:xfrm>
          <a:off x="838200" y="2371407"/>
          <a:ext cx="10515600" cy="365760"/>
        </p:xfrm>
        <a:graphic>
          <a:graphicData uri="http://schemas.openxmlformats.org/drawingml/2006/table">
            <a:tbl>
              <a:tblPr/>
              <a:tblGrid>
                <a:gridCol w="10515600"/>
              </a:tblGrid>
              <a:tr h="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8385" y="768445"/>
            <a:ext cx="4992468" cy="408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4315"/>
            <a:ext cx="12192000" cy="450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98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54765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45720" y="54765"/>
            <a:ext cx="121005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Simple Spring Boot Application:</a:t>
            </a:r>
            <a:endParaRPr lang="en-IN" b="1" u="sng" dirty="0"/>
          </a:p>
          <a:p>
            <a:endParaRPr lang="en-IN" dirty="0" smtClean="0"/>
          </a:p>
          <a:p>
            <a:endParaRPr lang="en-IN" dirty="0" smtClean="0"/>
          </a:p>
          <a:p>
            <a:endParaRPr lang="en-IN" u="sng" dirty="0"/>
          </a:p>
          <a:p>
            <a:endParaRPr lang="en-IN" b="1" u="sng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" y="512980"/>
            <a:ext cx="10136015" cy="566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250272"/>
            <a:ext cx="11919473" cy="6296733"/>
          </a:xfrm>
        </p:spPr>
        <p:txBody>
          <a:bodyPr>
            <a:normAutofit/>
          </a:bodyPr>
          <a:lstStyle/>
          <a:p>
            <a:pPr fontAlgn="ctr"/>
            <a:endParaRPr lang="en-GB" b="1" dirty="0" smtClean="0"/>
          </a:p>
          <a:p>
            <a:pPr fontAlgn="ctr"/>
            <a:endParaRPr lang="en-GB" dirty="0"/>
          </a:p>
          <a:p>
            <a:r>
              <a:rPr lang="en-GB" dirty="0"/>
              <a:t/>
            </a:r>
            <a:br>
              <a:rPr lang="en-GB" dirty="0"/>
            </a:br>
            <a:endParaRPr lang="en-IN" b="1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0" y="-82296"/>
            <a:ext cx="11983481" cy="7571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>
                <a:sym typeface="Wingdings" panose="05000000000000000000" pitchFamily="2" charset="2"/>
              </a:rPr>
              <a:t>Docker File:</a:t>
            </a:r>
          </a:p>
          <a:p>
            <a:endParaRPr lang="en-GB" b="1" dirty="0">
              <a:sym typeface="Wingdings" panose="05000000000000000000" pitchFamily="2" charset="2"/>
            </a:endParaRP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endParaRPr lang="en-GB" b="1" dirty="0">
              <a:sym typeface="Wingdings" panose="05000000000000000000" pitchFamily="2" charset="2"/>
            </a:endParaRPr>
          </a:p>
          <a:p>
            <a:endParaRPr lang="en-GB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u="sng" dirty="0" smtClean="0">
                <a:sym typeface="Wingdings" panose="05000000000000000000" pitchFamily="2" charset="2"/>
              </a:rPr>
              <a:t>Controller:</a:t>
            </a: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67358"/>
            <a:ext cx="8230749" cy="14098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376" y="3398638"/>
            <a:ext cx="7030431" cy="2810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-54864" y="166100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/>
              <a:t>Docker Image:</a:t>
            </a:r>
          </a:p>
          <a:p>
            <a:endParaRPr lang="en-GB" b="1" u="sng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456" y="690599"/>
            <a:ext cx="11448288" cy="469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22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46233" y="187665"/>
            <a:ext cx="12099533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u="sng" dirty="0" smtClean="0"/>
              <a:t>Docker Container:</a:t>
            </a:r>
          </a:p>
          <a:p>
            <a:endParaRPr lang="en-IN" b="1" u="sng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endParaRPr lang="en-I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33" y="579276"/>
            <a:ext cx="12192000" cy="541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0" y="-82296"/>
            <a:ext cx="121920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Output:</a:t>
            </a:r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 smtClean="0"/>
          </a:p>
          <a:p>
            <a:endParaRPr lang="en-IN" b="1" u="sng" dirty="0" smtClean="0"/>
          </a:p>
          <a:p>
            <a:r>
              <a:rPr lang="en-IN" b="1" u="sng" dirty="0" smtClean="0"/>
              <a:t>Push Image to dockerhub:</a:t>
            </a:r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 smtClean="0"/>
          </a:p>
          <a:p>
            <a:endParaRPr lang="en-IN" b="1" u="sng" dirty="0"/>
          </a:p>
          <a:p>
            <a:endParaRPr lang="en-IN" b="1" u="sng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265" y="180633"/>
            <a:ext cx="6449325" cy="21624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677" y="2871453"/>
            <a:ext cx="11820646" cy="3388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2006/metadata/properties"/>
    <ds:schemaRef ds:uri="http://purl.org/dc/terms/"/>
    <ds:schemaRef ds:uri="d64320fb-f9a3-4131-8206-9d18da17abe9"/>
    <ds:schemaRef ds:uri="http://schemas.microsoft.com/office/infopath/2007/PartnerControls"/>
    <ds:schemaRef ds:uri="http://schemas.openxmlformats.org/package/2006/metadata/core-properties"/>
    <ds:schemaRef ds:uri="489eda54-cdc8-4a48-94a2-8f9cf802428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42</TotalTime>
  <Words>70</Words>
  <Application>Microsoft Office PowerPoint</Application>
  <PresentationFormat>Widescreen</PresentationFormat>
  <Paragraphs>173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1067</cp:revision>
  <dcterms:created xsi:type="dcterms:W3CDTF">2022-01-18T12:35:56Z</dcterms:created>
  <dcterms:modified xsi:type="dcterms:W3CDTF">2025-04-29T19:2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